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13"/>
  </p:notesMasterIdLst>
  <p:handoutMasterIdLst>
    <p:handoutMasterId r:id="rId14"/>
  </p:handoutMasterIdLst>
  <p:sldIdLst>
    <p:sldId id="358" r:id="rId3"/>
    <p:sldId id="396" r:id="rId4"/>
    <p:sldId id="402" r:id="rId5"/>
    <p:sldId id="403" r:id="rId6"/>
    <p:sldId id="404" r:id="rId7"/>
    <p:sldId id="405" r:id="rId8"/>
    <p:sldId id="401" r:id="rId9"/>
    <p:sldId id="407" r:id="rId10"/>
    <p:sldId id="408" r:id="rId11"/>
    <p:sldId id="406" r:id="rId12"/>
  </p:sldIdLst>
  <p:sldSz cx="9906000" cy="6858000" type="A4"/>
  <p:notesSz cx="6797675" cy="9874250"/>
  <p:custDataLst>
    <p:tags r:id="rId15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BFAF"/>
    <a:srgbClr val="ACB7B2"/>
    <a:srgbClr val="000000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78394" autoAdjust="0"/>
  </p:normalViewPr>
  <p:slideViewPr>
    <p:cSldViewPr snapToGrid="0">
      <p:cViewPr varScale="1">
        <p:scale>
          <a:sx n="67" d="100"/>
          <a:sy n="67" d="100"/>
        </p:scale>
        <p:origin x="408" y="62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8/24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2864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8888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5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2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5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2838734"/>
            <a:ext cx="6629469" cy="1421231"/>
          </a:xfrm>
        </p:spPr>
        <p:txBody>
          <a:bodyPr/>
          <a:lstStyle/>
          <a:p>
            <a:r>
              <a:rPr lang="en-US" dirty="0" smtClean="0"/>
              <a:t>Azure Introduction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 smtClean="0"/>
              <a:t>24</a:t>
            </a:r>
            <a:r>
              <a:rPr lang="en-US" baseline="30000" dirty="0" smtClean="0"/>
              <a:t>th</a:t>
            </a:r>
            <a:r>
              <a:rPr lang="en-US" dirty="0" smtClean="0"/>
              <a:t> August 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ur 1</a:t>
            </a:r>
            <a:r>
              <a:rPr lang="en-GB" baseline="30000" dirty="0" smtClean="0"/>
              <a:t>st</a:t>
            </a:r>
            <a:r>
              <a:rPr lang="en-GB" dirty="0" smtClean="0"/>
              <a:t> Azure Deployment (</a:t>
            </a:r>
            <a:r>
              <a:rPr lang="en-GB" dirty="0" err="1" smtClean="0"/>
              <a:t>IaaS</a:t>
            </a:r>
            <a:r>
              <a:rPr lang="en-GB" dirty="0" smtClean="0"/>
              <a:t>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Resource Group</a:t>
            </a:r>
          </a:p>
          <a:p>
            <a:pPr lvl="1"/>
            <a:r>
              <a:rPr lang="en-GB" dirty="0" smtClean="0"/>
              <a:t>Container</a:t>
            </a:r>
          </a:p>
          <a:p>
            <a:pPr lvl="1"/>
            <a:endParaRPr lang="en-GB" dirty="0"/>
          </a:p>
          <a:p>
            <a:r>
              <a:rPr lang="en-GB" dirty="0" smtClean="0"/>
              <a:t> Subnet – tiers</a:t>
            </a:r>
          </a:p>
          <a:p>
            <a:pPr lvl="1"/>
            <a:r>
              <a:rPr lang="en-GB" dirty="0" smtClean="0"/>
              <a:t>Web, App, DB</a:t>
            </a:r>
          </a:p>
          <a:p>
            <a:pPr marL="174625" lvl="1" indent="0">
              <a:buNone/>
            </a:pPr>
            <a:endParaRPr lang="en-GB" dirty="0"/>
          </a:p>
          <a:p>
            <a:r>
              <a:rPr lang="en-GB" dirty="0" smtClean="0"/>
              <a:t>Network Security Group</a:t>
            </a:r>
          </a:p>
          <a:p>
            <a:pPr lvl="1"/>
            <a:r>
              <a:rPr lang="en-GB" dirty="0" smtClean="0"/>
              <a:t>Allowed protocols</a:t>
            </a:r>
          </a:p>
          <a:p>
            <a:pPr lvl="1"/>
            <a:endParaRPr lang="en-GB" dirty="0"/>
          </a:p>
          <a:p>
            <a:r>
              <a:rPr lang="en-GB" dirty="0" smtClean="0"/>
              <a:t>VM</a:t>
            </a:r>
            <a:endParaRPr lang="en-GB" dirty="0"/>
          </a:p>
          <a:p>
            <a:pPr lvl="1"/>
            <a:r>
              <a:rPr lang="en-GB" dirty="0" smtClean="0"/>
              <a:t>Win Server 2016</a:t>
            </a:r>
          </a:p>
          <a:p>
            <a:pPr lvl="1"/>
            <a:r>
              <a:rPr lang="en-GB" smtClean="0"/>
              <a:t>IIS</a:t>
            </a:r>
            <a:endParaRPr lang="en-GB" dirty="0" smtClean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4471" y="1602737"/>
            <a:ext cx="7113626" cy="466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779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Cloud Computing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37481"/>
            <a:ext cx="9582608" cy="4801035"/>
          </a:xfrm>
        </p:spPr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</p:txBody>
      </p:sp>
      <p:pic>
        <p:nvPicPr>
          <p:cNvPr id="6" name="Content Placeholder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3415" y="1484939"/>
            <a:ext cx="9181801" cy="4766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237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antages and Benefi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37481"/>
            <a:ext cx="9582608" cy="4801035"/>
          </a:xfrm>
        </p:spPr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</p:txBody>
      </p:sp>
      <p:pic>
        <p:nvPicPr>
          <p:cNvPr id="7" name="Content Placeholder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6471" y="1337481"/>
            <a:ext cx="8193057" cy="4643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280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WS/Azure </a:t>
            </a:r>
            <a:r>
              <a:rPr lang="en-GB" dirty="0"/>
              <a:t>Data Centr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37481"/>
            <a:ext cx="9582608" cy="4801035"/>
          </a:xfrm>
        </p:spPr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</p:txBody>
      </p:sp>
      <p:pic>
        <p:nvPicPr>
          <p:cNvPr id="5" name="Content Placeholder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624" y="1397876"/>
            <a:ext cx="9243590" cy="4708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468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WS/Azure </a:t>
            </a:r>
            <a:r>
              <a:rPr lang="en-GB" dirty="0"/>
              <a:t>Data Centr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37481"/>
            <a:ext cx="9582608" cy="4801035"/>
          </a:xfrm>
        </p:spPr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187" y="1928812"/>
            <a:ext cx="9191625" cy="30003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770877" y="4946081"/>
            <a:ext cx="53973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rgbClr val="FF0000"/>
                </a:solidFill>
              </a:rPr>
              <a:t>AWS</a:t>
            </a:r>
            <a:r>
              <a:rPr lang="en-GB" sz="1400" b="1" dirty="0" smtClean="0">
                <a:solidFill>
                  <a:srgbClr val="FF0000"/>
                </a:solidFill>
              </a:rPr>
              <a:t>: </a:t>
            </a:r>
            <a:r>
              <a:rPr lang="en-GB" sz="1400" b="1" dirty="0" err="1" smtClean="0">
                <a:solidFill>
                  <a:srgbClr val="FF0000"/>
                </a:solidFill>
              </a:rPr>
              <a:t>Xen</a:t>
            </a:r>
            <a:r>
              <a:rPr lang="en-GB" sz="1400" b="1" dirty="0" smtClean="0">
                <a:solidFill>
                  <a:srgbClr val="FF0000"/>
                </a:solidFill>
              </a:rPr>
              <a:t> 				Azure: Hyper -V</a:t>
            </a:r>
          </a:p>
        </p:txBody>
      </p:sp>
    </p:spTree>
    <p:extLst>
      <p:ext uri="{BB962C8B-B14F-4D97-AF65-F5344CB8AC3E}">
        <p14:creationId xmlns:p14="http://schemas.microsoft.com/office/powerpoint/2010/main" val="115242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ata Centres vs Cloud Host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37481"/>
            <a:ext cx="9582608" cy="4801035"/>
          </a:xfrm>
        </p:spPr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700" y="1462087"/>
            <a:ext cx="8610600" cy="3933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309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zure Regions – as of August 2017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37481"/>
            <a:ext cx="9582608" cy="4801035"/>
          </a:xfrm>
        </p:spPr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087" y="1255442"/>
            <a:ext cx="9241217" cy="4883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712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frastructure, Platform &amp; Software as a Serv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9123967"/>
              </p:ext>
            </p:extLst>
          </p:nvPr>
        </p:nvGraphicFramePr>
        <p:xfrm>
          <a:off x="879027" y="4378241"/>
          <a:ext cx="8471337" cy="11887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7856"/>
                <a:gridCol w="3058510"/>
                <a:gridCol w="2854971"/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Virtual</a:t>
                      </a:r>
                      <a:r>
                        <a:rPr lang="en-GB" baseline="0" dirty="0" smtClean="0"/>
                        <a:t> Machines</a:t>
                      </a:r>
                    </a:p>
                    <a:p>
                      <a:r>
                        <a:rPr lang="en-GB" baseline="0" dirty="0" smtClean="0"/>
                        <a:t>Pay for hardware as needed</a:t>
                      </a:r>
                    </a:p>
                    <a:p>
                      <a:r>
                        <a:rPr lang="en-GB" baseline="0" dirty="0" smtClean="0"/>
                        <a:t>You manage VM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Manage</a:t>
                      </a:r>
                      <a:r>
                        <a:rPr lang="en-GB" baseline="0" dirty="0" smtClean="0"/>
                        <a:t> only your code</a:t>
                      </a:r>
                    </a:p>
                    <a:p>
                      <a:r>
                        <a:rPr lang="en-GB" baseline="0" dirty="0" smtClean="0"/>
                        <a:t>VMs managed for you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Pre-built</a:t>
                      </a:r>
                      <a:r>
                        <a:rPr lang="en-GB" baseline="0" dirty="0" smtClean="0"/>
                        <a:t> application</a:t>
                      </a:r>
                    </a:p>
                    <a:p>
                      <a:r>
                        <a:rPr lang="en-GB" baseline="0" dirty="0" smtClean="0"/>
                        <a:t>Pay by user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9027" y="1258641"/>
            <a:ext cx="7591425" cy="306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092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zure Cost of Virtual machines (Windows/Linux)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3804" y="1207968"/>
            <a:ext cx="8599891" cy="506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144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3577</TotalTime>
  <Words>110</Words>
  <Application>Microsoft Office PowerPoint</Application>
  <PresentationFormat>A4 Paper (210x297 mm)</PresentationFormat>
  <Paragraphs>105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Helvetica Light</vt:lpstr>
      <vt:lpstr>Wingdings</vt:lpstr>
      <vt:lpstr>ppt_Template_CoverOption1</vt:lpstr>
      <vt:lpstr>Section break</vt:lpstr>
      <vt:lpstr>think-cell Slide</vt:lpstr>
      <vt:lpstr>Azure Introduction</vt:lpstr>
      <vt:lpstr>What is Cloud Computing?</vt:lpstr>
      <vt:lpstr>Advantages and Benefits</vt:lpstr>
      <vt:lpstr>AWS/Azure Data Centres</vt:lpstr>
      <vt:lpstr>AWS/Azure Data Centres</vt:lpstr>
      <vt:lpstr>Data Centres vs Cloud Hosting</vt:lpstr>
      <vt:lpstr>Azure Regions – as of August 2017</vt:lpstr>
      <vt:lpstr>Infrastructure, Platform &amp; Software as a Service</vt:lpstr>
      <vt:lpstr>Azure Cost of Virtual machines (Windows/Linux)</vt:lpstr>
      <vt:lpstr>Our 1st Azure Deployment (IaaS)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269</cp:revision>
  <dcterms:created xsi:type="dcterms:W3CDTF">2016-02-17T09:58:27Z</dcterms:created>
  <dcterms:modified xsi:type="dcterms:W3CDTF">2017-08-24T12:36:43Z</dcterms:modified>
</cp:coreProperties>
</file>